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62" r:id="rId2"/>
  </p:sldMasterIdLst>
  <p:sldIdLst>
    <p:sldId id="258" r:id="rId3"/>
    <p:sldId id="261" r:id="rId4"/>
    <p:sldId id="262" r:id="rId5"/>
    <p:sldId id="265" r:id="rId6"/>
    <p:sldId id="259" r:id="rId7"/>
  </p:sldIdLst>
  <p:sldSz cx="12192000" cy="6858000"/>
  <p:notesSz cx="6858000" cy="9144000"/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70" d="100"/>
          <a:sy n="70" d="100"/>
        </p:scale>
        <p:origin x="738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FD759D2-6340-484E-A835-B491E6099F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39D8A9BE-82BC-41F5-95CC-59ABDFE79F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C317F0C2-AE3D-4288-A268-78502ED8E8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FF83E-3719-48B2-AE55-01E1C18D3DE1}" type="datetimeFigureOut">
              <a:rPr lang="es-CL" smtClean="0"/>
              <a:t>12-07-2022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D549A452-CBA6-4646-9C53-95E892E1A7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D8783D3-B823-4DB9-BA20-96990870E8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AC2F2-2865-41E5-8B66-B527770BA27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6058115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0C9C48B-7A86-4F22-A160-F2D2A1B087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96637EB7-1FA9-4A35-8060-CCB1C541EC1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A4F7A10-E8DB-4DDD-ABCA-199294D7F4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FF83E-3719-48B2-AE55-01E1C18D3DE1}" type="datetimeFigureOut">
              <a:rPr lang="es-CL" smtClean="0"/>
              <a:t>12-07-2022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78345070-ACD8-4496-B658-B95DF17CF7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3E3AA07-BD7D-4BDD-9AB8-4C7B3D00FE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AC2F2-2865-41E5-8B66-B527770BA27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6929283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C5DEBD63-53AC-4940-BC7B-3EC87376327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773D096E-28A6-4976-B2A9-F212B4E1228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079EA79-D920-44A1-A245-E358076C09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FF83E-3719-48B2-AE55-01E1C18D3DE1}" type="datetimeFigureOut">
              <a:rPr lang="es-CL" smtClean="0"/>
              <a:t>12-07-2022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810E425-3D48-461E-B83D-2D21A435CD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9FD4824-6E49-4C6B-92B0-CB95A54CBD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AC2F2-2865-41E5-8B66-B527770BA27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4143472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 descr="Azul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4380" cy="6858000"/>
          </a:xfrm>
          <a:prstGeom prst="rect">
            <a:avLst/>
          </a:prstGeom>
        </p:spPr>
      </p:pic>
      <p:sp>
        <p:nvSpPr>
          <p:cNvPr id="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4541241" y="5978525"/>
            <a:ext cx="3720704" cy="46037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7" name="Picture 3" descr="pasted-image.pdf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4649" y="2079030"/>
            <a:ext cx="1893887" cy="142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8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3798093" y="5516563"/>
            <a:ext cx="5207000" cy="4365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798093" y="3768130"/>
            <a:ext cx="5207000" cy="4365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8296034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 descr="Azul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4380" cy="6858000"/>
          </a:xfrm>
          <a:prstGeom prst="rect">
            <a:avLst/>
          </a:prstGeom>
        </p:spPr>
      </p:pic>
      <p:pic>
        <p:nvPicPr>
          <p:cNvPr id="3" name="Picture 1" descr="pasted-image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1813" y="2930525"/>
            <a:ext cx="1555750" cy="1171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5461000" cy="687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76" y="2776538"/>
            <a:ext cx="4539948" cy="1136244"/>
          </a:xfrm>
          <a:prstGeom prst="rect">
            <a:avLst/>
          </a:prstGeo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n-US" dirty="0"/>
          </a:p>
        </p:txBody>
      </p:sp>
      <p:sp>
        <p:nvSpPr>
          <p:cNvPr id="5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7318376" y="3929905"/>
            <a:ext cx="4539948" cy="4365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905856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C5B628F-0537-4AC9-A0B4-1F2E295ED6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2FA4611-6639-4557-91DE-31855A7229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3C86CF83-810A-4DB5-B4F6-FF24D2CD3C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FF83E-3719-48B2-AE55-01E1C18D3DE1}" type="datetimeFigureOut">
              <a:rPr lang="es-CL" smtClean="0"/>
              <a:t>12-07-2022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723E59D4-6B59-4489-9A3E-2477FE084E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451C028-1509-45C8-B86B-F98B137D6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AC2F2-2865-41E5-8B66-B527770BA27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9152439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96720B3-70AF-4698-81E0-1341A8844E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C7BB866-3536-4B9C-BEB8-4A43ABEAC2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8F84865-D109-488D-89FA-43039A63B0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FF83E-3719-48B2-AE55-01E1C18D3DE1}" type="datetimeFigureOut">
              <a:rPr lang="es-CL" smtClean="0"/>
              <a:t>12-07-2022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1821AED-0A5F-436A-A214-02DE91ED8D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44F79BE-BD2D-4BB3-8D74-399DCAA465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AC2F2-2865-41E5-8B66-B527770BA27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6714391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00CB04C-7F4F-4D7D-8AA1-098A1621BA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DD2282C-9F75-4C8C-86F5-AAE0AD529A7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A1156F02-C247-4CC1-B849-9DBD9C0DD4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9D8B340A-A9FB-4861-BD9C-B4D13FEE16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FF83E-3719-48B2-AE55-01E1C18D3DE1}" type="datetimeFigureOut">
              <a:rPr lang="es-CL" smtClean="0"/>
              <a:t>12-07-2022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4FFE549-9BBD-4CE2-9375-CF3314885F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4AB33942-D9E2-4217-B5DD-432AF015D3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AC2F2-2865-41E5-8B66-B527770BA27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8261376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A401AB8-788A-4144-9CF5-325191CCF3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BFC7A1C3-2A4D-4EB1-B774-A63C94B3B8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6FBD24C4-DA49-46EA-8F81-8056183D54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6656277E-85C3-4CD4-8117-9D742D5A6AE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DA3DCE84-E537-42AE-A29E-30B0CA8FE13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5A2E823A-E733-49D1-9278-9B6BAB7D47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FF83E-3719-48B2-AE55-01E1C18D3DE1}" type="datetimeFigureOut">
              <a:rPr lang="es-CL" smtClean="0"/>
              <a:t>12-07-2022</a:t>
            </a:fld>
            <a:endParaRPr lang="es-CL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6ED66792-6C80-4C9F-B298-59A49046D0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BFE246EC-5E0E-4AAD-B0AE-DA04631C7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AC2F2-2865-41E5-8B66-B527770BA27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468071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6718BFB-21A8-4AB6-9DCD-1ADCC44016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E0F8A4FF-BF58-421A-90C2-51BA84D1AA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FF83E-3719-48B2-AE55-01E1C18D3DE1}" type="datetimeFigureOut">
              <a:rPr lang="es-CL" smtClean="0"/>
              <a:t>12-07-2022</a:t>
            </a:fld>
            <a:endParaRPr lang="es-CL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5EF0679-A17C-4360-AE75-5EBC4F7132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63E61EDC-AB88-4084-96C3-DD190FC914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AC2F2-2865-41E5-8B66-B527770BA27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8843375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28080BB9-AF05-4BA4-8E06-8473D96393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FF83E-3719-48B2-AE55-01E1C18D3DE1}" type="datetimeFigureOut">
              <a:rPr lang="es-CL" smtClean="0"/>
              <a:t>12-07-2022</a:t>
            </a:fld>
            <a:endParaRPr lang="es-CL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81D9DC2D-84B9-4747-AC9F-0A8B88EEE5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031F7755-9F25-4FF3-A62F-B4F70988D2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AC2F2-2865-41E5-8B66-B527770BA27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8333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96AF8A6-6D86-429B-A25F-B4E946F4CD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49DBA53-AE72-4793-AC30-CFAA42D031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7FF18B28-BB85-4E56-B9A7-635CA79FE4E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2552A935-8976-447B-8316-CFCDC1B0CB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FF83E-3719-48B2-AE55-01E1C18D3DE1}" type="datetimeFigureOut">
              <a:rPr lang="es-CL" smtClean="0"/>
              <a:t>12-07-2022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5071A8C8-F4FB-4CD3-B3EC-B57D78DA1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2DA0407F-BED0-4B87-A181-6B4BBA2921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AC2F2-2865-41E5-8B66-B527770BA27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5878915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3224A6F-771F-40BD-8B60-A95579EAF6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09042F27-4B11-4D08-86D6-875B4A7648E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4FAA8498-FB8E-4621-A9B1-CFD2D27E6D1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CC543509-6DA8-4AEB-98F0-7C3798AD55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FF83E-3719-48B2-AE55-01E1C18D3DE1}" type="datetimeFigureOut">
              <a:rPr lang="es-CL" smtClean="0"/>
              <a:t>12-07-2022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4FBB223-4A51-4DB1-A310-7129D2DCED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F71CD2A9-A8FB-48DC-AF64-3092E1C2AD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AC2F2-2865-41E5-8B66-B527770BA27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7634609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B5C892FB-0084-478C-9047-A199A40A74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3045AD25-1689-4BA8-B9DA-18768A616C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BB904B6-A094-42D4-87A6-00640CC009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5FF83E-3719-48B2-AE55-01E1C18D3DE1}" type="datetimeFigureOut">
              <a:rPr lang="es-CL" smtClean="0"/>
              <a:t>12-07-2022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13F95D4-69E0-41E0-B66C-EE6A32739A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F319FBF6-8E8A-4DFD-9827-D95B0F3DAA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BAC2F2-2865-41E5-8B66-B527770BA27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896003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EB65A50F-62E3-4943-BA2D-6E547400AE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21" imgH="423" progId="TCLayout.ActiveDocument.1">
                  <p:embed/>
                </p:oleObj>
              </mc:Choice>
              <mc:Fallback>
                <p:oleObj name="Diapositiva de think-cell" r:id="rId5" imgW="421" imgH="423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EB65A50F-62E3-4943-BA2D-6E547400AE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43421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64" r:id="rId2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Barlow Black" panose="00000A00000000000000" pitchFamily="2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Barlow Black" panose="00000A00000000000000" pitchFamily="2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Barlow Black" panose="00000A00000000000000" pitchFamily="2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Barlow Black" panose="00000A00000000000000" pitchFamily="2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05A9690-7CF3-4687-8DB8-967E417C9B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21" imgH="423" progId="TCLayout.ActiveDocument.1">
                  <p:embed/>
                </p:oleObj>
              </mc:Choice>
              <mc:Fallback>
                <p:oleObj name="Diapositiva de think-cell" r:id="rId3" imgW="421" imgH="423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05A9690-7CF3-4687-8DB8-967E417C9B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195283D7-3D42-4D77-8F03-A46A052AD3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OFERTA COMERCIAL</a:t>
            </a:r>
            <a:br>
              <a:rPr lang="es-CL" dirty="0"/>
            </a:br>
            <a:r>
              <a:rPr lang="es-CL" dirty="0"/>
              <a:t>ANOP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92C4C73-F7EF-4329-9EF8-00A56D88B2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318376" y="4499428"/>
            <a:ext cx="4539948" cy="391885"/>
          </a:xfrm>
        </p:spPr>
        <p:txBody>
          <a:bodyPr/>
          <a:lstStyle/>
          <a:p>
            <a:r>
              <a:rPr lang="es-CL" dirty="0">
                <a:solidFill>
                  <a:schemeClr val="accent4"/>
                </a:solidFill>
              </a:rPr>
              <a:t>JUNIO 2022</a:t>
            </a:r>
          </a:p>
        </p:txBody>
      </p:sp>
    </p:spTree>
    <p:extLst>
      <p:ext uri="{BB962C8B-B14F-4D97-AF65-F5344CB8AC3E}">
        <p14:creationId xmlns:p14="http://schemas.microsoft.com/office/powerpoint/2010/main" val="33366249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8BCC2BAD-0A75-4D8D-9B2C-CE196EA4FF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7981" y="825420"/>
            <a:ext cx="2856268" cy="544051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0060B509-FF9E-4D09-8DCB-CA1719B315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985" y="4176099"/>
            <a:ext cx="8722923" cy="1836405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882CC3B1-3EB1-45E7-8E49-76CEF77940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74567" y="192364"/>
            <a:ext cx="506702" cy="500121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EF88E784-5760-4BDB-9D0A-156C935E5C2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81269" y="192364"/>
            <a:ext cx="641664" cy="500121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E49A88B1-F7BE-0D82-BE4B-13611CE6313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7980" y="1801504"/>
            <a:ext cx="10617915" cy="197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71765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9829599E-D49E-401B-B631-BBD6718ACF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6775" y="1003021"/>
            <a:ext cx="3023368" cy="462171"/>
          </a:xfrm>
          <a:prstGeom prst="rect">
            <a:avLst/>
          </a:prstGeom>
        </p:spPr>
      </p:pic>
      <p:pic>
        <p:nvPicPr>
          <p:cNvPr id="3" name="Imagen 2">
            <a:extLst>
              <a:ext uri="{FF2B5EF4-FFF2-40B4-BE49-F238E27FC236}">
                <a16:creationId xmlns:a16="http://schemas.microsoft.com/office/drawing/2014/main" id="{0A5C0DDD-61D6-48F3-A1CD-E0FB26CC63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66321" y="283677"/>
            <a:ext cx="1329695" cy="719343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6EBEDBCA-EFC9-4859-B6AD-89336C379C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2950" y="4388129"/>
            <a:ext cx="7486650" cy="2051502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0D8440FE-0BBB-1838-36A1-BFC2A3A8ACA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950" y="1719618"/>
            <a:ext cx="10453066" cy="2206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37096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B854194-185D-494D-905C-7C7CB2E30F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608211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4F5FA0D-0104-4987-8241-EFF7C85B88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2191998" cy="6858000"/>
          </a:xfrm>
          <a:prstGeom prst="rect">
            <a:avLst/>
          </a:prstGeom>
          <a:gradFill>
            <a:gsLst>
              <a:gs pos="0">
                <a:schemeClr val="accent1">
                  <a:lumMod val="90000"/>
                </a:schemeClr>
              </a:gs>
              <a:gs pos="25000">
                <a:schemeClr val="accent1">
                  <a:lumMod val="90000"/>
                </a:schemeClr>
              </a:gs>
              <a:gs pos="94000">
                <a:schemeClr val="bg2">
                  <a:lumMod val="25000"/>
                </a:schemeClr>
              </a:gs>
              <a:gs pos="100000">
                <a:schemeClr val="bg2">
                  <a:lumMod val="2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897127E-6CEF-446C-BE87-93B7C46E49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BD4B7465-10DC-498B-8496-E08B01362B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79" y="2053641"/>
            <a:ext cx="3669161" cy="2760098"/>
          </a:xfrm>
        </p:spPr>
        <p:txBody>
          <a:bodyPr>
            <a:normAutofit/>
          </a:bodyPr>
          <a:lstStyle/>
          <a:p>
            <a:r>
              <a:rPr lang="es-CL" dirty="0">
                <a:solidFill>
                  <a:srgbClr val="FFFFFF"/>
                </a:solidFill>
              </a:rPr>
              <a:t>Importante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C6C3BC00-CD10-422A-BCD6-7E4B782B45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0574" y="801866"/>
            <a:ext cx="5306084" cy="5230634"/>
          </a:xfrm>
        </p:spPr>
        <p:txBody>
          <a:bodyPr anchor="ctr">
            <a:normAutofit/>
          </a:bodyPr>
          <a:lstStyle/>
          <a:p>
            <a:r>
              <a:rPr lang="es-CL" sz="2400" dirty="0">
                <a:solidFill>
                  <a:srgbClr val="000000"/>
                </a:solidFill>
              </a:rPr>
              <a:t>Equipos sujetos a disponibilidad de stock</a:t>
            </a:r>
          </a:p>
          <a:p>
            <a:r>
              <a:rPr lang="es-CL" sz="2400" dirty="0">
                <a:solidFill>
                  <a:srgbClr val="000000"/>
                </a:solidFill>
              </a:rPr>
              <a:t> Los valores de equipos están sujeto a cambios sin previo aviso.</a:t>
            </a:r>
          </a:p>
          <a:p>
            <a:r>
              <a:rPr lang="es-CL" sz="2400" dirty="0">
                <a:solidFill>
                  <a:srgbClr val="000000"/>
                </a:solidFill>
              </a:rPr>
              <a:t>Si necesitas cotizar otro modelo de equipo consultar a administrador de cuenta</a:t>
            </a:r>
          </a:p>
        </p:txBody>
      </p:sp>
    </p:spTree>
    <p:extLst>
      <p:ext uri="{BB962C8B-B14F-4D97-AF65-F5344CB8AC3E}">
        <p14:creationId xmlns:p14="http://schemas.microsoft.com/office/powerpoint/2010/main" val="34860166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8881D117-9CAD-4633-B121-5F6F05F5B4A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CL" dirty="0"/>
              <a:t>JULIO 2022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A5A63E6-AC37-4883-9A26-07FC6B7E18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s-CL" dirty="0"/>
              <a:t>ENTEL EMPRESAS</a:t>
            </a:r>
          </a:p>
        </p:txBody>
      </p:sp>
    </p:spTree>
    <p:extLst>
      <p:ext uri="{BB962C8B-B14F-4D97-AF65-F5344CB8AC3E}">
        <p14:creationId xmlns:p14="http://schemas.microsoft.com/office/powerpoint/2010/main" val="35774739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Tema de Office">
  <a:themeElements>
    <a:clrScheme name="Entel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5CFF"/>
      </a:accent1>
      <a:accent2>
        <a:srgbClr val="FF3D00"/>
      </a:accent2>
      <a:accent3>
        <a:srgbClr val="2FCBF1"/>
      </a:accent3>
      <a:accent4>
        <a:srgbClr val="42E8B4"/>
      </a:accent4>
      <a:accent5>
        <a:srgbClr val="EB6C98"/>
      </a:accent5>
      <a:accent6>
        <a:srgbClr val="CCCCCC"/>
      </a:accent6>
      <a:hlink>
        <a:srgbClr val="10069F"/>
      </a:hlink>
      <a:folHlink>
        <a:srgbClr val="954F72"/>
      </a:folHlink>
    </a:clrScheme>
    <a:fontScheme name="Custom 3">
      <a:majorFont>
        <a:latin typeface="Barlow SemiBold"/>
        <a:ea typeface=""/>
        <a:cs typeface=""/>
      </a:majorFont>
      <a:minorFont>
        <a:latin typeface="Barlow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0CB62DF3-C427-4538-9FB5-F1CB535F94AC}" vid="{833B4376-E258-4228-AC86-96C40C12FDC8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22</TotalTime>
  <Words>42</Words>
  <Application>Microsoft Office PowerPoint</Application>
  <PresentationFormat>Panorámica</PresentationFormat>
  <Paragraphs>8</Paragraphs>
  <Slides>5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6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5</vt:i4>
      </vt:variant>
    </vt:vector>
  </HeadingPairs>
  <TitlesOfParts>
    <vt:vector size="14" baseType="lpstr">
      <vt:lpstr>Arial</vt:lpstr>
      <vt:lpstr>Barlow Black</vt:lpstr>
      <vt:lpstr>Barlow Medium</vt:lpstr>
      <vt:lpstr>Barlow SemiBold</vt:lpstr>
      <vt:lpstr>Calibri</vt:lpstr>
      <vt:lpstr>Calibri Light</vt:lpstr>
      <vt:lpstr>Tema de Office</vt:lpstr>
      <vt:lpstr>6_Tema de Office</vt:lpstr>
      <vt:lpstr>Diapositiva de think-cell</vt:lpstr>
      <vt:lpstr>OFERTA COMERCIAL ANOP</vt:lpstr>
      <vt:lpstr>Presentación de PowerPoint</vt:lpstr>
      <vt:lpstr>Presentación de PowerPoint</vt:lpstr>
      <vt:lpstr>Importante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FERTA COMERCIAL ANOP</dc:title>
  <dc:creator>Droguett Haschke Francisca Alejandra</dc:creator>
  <cp:lastModifiedBy>Droguett Haschke Francisca Alejandra</cp:lastModifiedBy>
  <cp:revision>3</cp:revision>
  <dcterms:created xsi:type="dcterms:W3CDTF">2020-12-01T23:41:04Z</dcterms:created>
  <dcterms:modified xsi:type="dcterms:W3CDTF">2022-07-12T15:46:02Z</dcterms:modified>
</cp:coreProperties>
</file>